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30275213" cy="42803763"/>
  <p:notesSz cx="6858000" cy="9144000"/>
  <p:custDataLst>
    <p:tags r:id="rId3"/>
  </p:custDataLst>
  <p:defaultTextStyle>
    <a:defPPr>
      <a:defRPr lang="de-DE"/>
    </a:defPPr>
    <a:lvl1pPr marL="0" algn="l" defTabSz="3507730" rtl="0" eaLnBrk="1" latinLnBrk="0" hangingPunct="1">
      <a:defRPr sz="6905" kern="1200">
        <a:solidFill>
          <a:schemeClr val="tx1"/>
        </a:solidFill>
        <a:latin typeface="+mn-lt"/>
        <a:ea typeface="+mn-ea"/>
        <a:cs typeface="+mn-cs"/>
      </a:defRPr>
    </a:lvl1pPr>
    <a:lvl2pPr marL="1753865" algn="l" defTabSz="3507730" rtl="0" eaLnBrk="1" latinLnBrk="0" hangingPunct="1">
      <a:defRPr sz="6905" kern="1200">
        <a:solidFill>
          <a:schemeClr val="tx1"/>
        </a:solidFill>
        <a:latin typeface="+mn-lt"/>
        <a:ea typeface="+mn-ea"/>
        <a:cs typeface="+mn-cs"/>
      </a:defRPr>
    </a:lvl2pPr>
    <a:lvl3pPr marL="3507730" algn="l" defTabSz="3507730" rtl="0" eaLnBrk="1" latinLnBrk="0" hangingPunct="1">
      <a:defRPr sz="6905" kern="1200">
        <a:solidFill>
          <a:schemeClr val="tx1"/>
        </a:solidFill>
        <a:latin typeface="+mn-lt"/>
        <a:ea typeface="+mn-ea"/>
        <a:cs typeface="+mn-cs"/>
      </a:defRPr>
    </a:lvl3pPr>
    <a:lvl4pPr marL="5261595" algn="l" defTabSz="3507730" rtl="0" eaLnBrk="1" latinLnBrk="0" hangingPunct="1">
      <a:defRPr sz="6905" kern="1200">
        <a:solidFill>
          <a:schemeClr val="tx1"/>
        </a:solidFill>
        <a:latin typeface="+mn-lt"/>
        <a:ea typeface="+mn-ea"/>
        <a:cs typeface="+mn-cs"/>
      </a:defRPr>
    </a:lvl4pPr>
    <a:lvl5pPr marL="7015460" algn="l" defTabSz="3507730" rtl="0" eaLnBrk="1" latinLnBrk="0" hangingPunct="1">
      <a:defRPr sz="6905" kern="1200">
        <a:solidFill>
          <a:schemeClr val="tx1"/>
        </a:solidFill>
        <a:latin typeface="+mn-lt"/>
        <a:ea typeface="+mn-ea"/>
        <a:cs typeface="+mn-cs"/>
      </a:defRPr>
    </a:lvl5pPr>
    <a:lvl6pPr marL="8769325" algn="l" defTabSz="3507730" rtl="0" eaLnBrk="1" latinLnBrk="0" hangingPunct="1">
      <a:defRPr sz="6905" kern="1200">
        <a:solidFill>
          <a:schemeClr val="tx1"/>
        </a:solidFill>
        <a:latin typeface="+mn-lt"/>
        <a:ea typeface="+mn-ea"/>
        <a:cs typeface="+mn-cs"/>
      </a:defRPr>
    </a:lvl6pPr>
    <a:lvl7pPr marL="10523190" algn="l" defTabSz="3507730" rtl="0" eaLnBrk="1" latinLnBrk="0" hangingPunct="1">
      <a:defRPr sz="6905" kern="1200">
        <a:solidFill>
          <a:schemeClr val="tx1"/>
        </a:solidFill>
        <a:latin typeface="+mn-lt"/>
        <a:ea typeface="+mn-ea"/>
        <a:cs typeface="+mn-cs"/>
      </a:defRPr>
    </a:lvl7pPr>
    <a:lvl8pPr marL="12277054" algn="l" defTabSz="3507730" rtl="0" eaLnBrk="1" latinLnBrk="0" hangingPunct="1">
      <a:defRPr sz="6905" kern="1200">
        <a:solidFill>
          <a:schemeClr val="tx1"/>
        </a:solidFill>
        <a:latin typeface="+mn-lt"/>
        <a:ea typeface="+mn-ea"/>
        <a:cs typeface="+mn-cs"/>
      </a:defRPr>
    </a:lvl8pPr>
    <a:lvl9pPr marL="14030919" algn="l" defTabSz="3507730" rtl="0" eaLnBrk="1" latinLnBrk="0" hangingPunct="1">
      <a:defRPr sz="690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482" userDrawn="1">
          <p15:clr>
            <a:srgbClr val="A4A3A4"/>
          </p15:clr>
        </p15:guide>
        <p15:guide id="2" pos="953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>
        <p:scale>
          <a:sx n="20" d="100"/>
          <a:sy n="20" d="100"/>
        </p:scale>
        <p:origin x="1474" y="-792"/>
      </p:cViewPr>
      <p:guideLst>
        <p:guide orient="horz" pos="13482"/>
        <p:guide pos="953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48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>
                <a:solidFill>
                  <a:schemeClr val="tx1"/>
                </a:solidFill>
              </a:rPr>
              <a:t>Overall evaluation</a:t>
            </a:r>
            <a:r>
              <a:rPr lang="en-US" baseline="0" dirty="0" smtClean="0">
                <a:solidFill>
                  <a:schemeClr val="tx1"/>
                </a:solidFill>
              </a:rPr>
              <a:t> results (F1 score)</a:t>
            </a:r>
            <a:endParaRPr lang="en-US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562391437050319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48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18540075757575758"/>
          <c:y val="0.1213495046990094"/>
          <c:w val="0.78145951178451167"/>
          <c:h val="0.818869020404707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VM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3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64.0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STM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3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69.150000000000006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NN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3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66.209999999999994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88428088"/>
        <c:axId val="188429264"/>
      </c:barChart>
      <c:catAx>
        <c:axId val="1884280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8429264"/>
        <c:crosses val="autoZero"/>
        <c:auto val="1"/>
        <c:lblAlgn val="ctr"/>
        <c:lblOffset val="100"/>
        <c:noMultiLvlLbl val="0"/>
      </c:catAx>
      <c:valAx>
        <c:axId val="188429264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35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3500" dirty="0" smtClean="0"/>
                  <a:t>Macro-averaged</a:t>
                </a:r>
                <a:r>
                  <a:rPr lang="en-US" sz="3500" baseline="0" dirty="0" smtClean="0"/>
                  <a:t> </a:t>
                </a:r>
                <a:r>
                  <a:rPr lang="en-US" sz="3500" dirty="0" smtClean="0"/>
                  <a:t>F1 score (in %)</a:t>
                </a:r>
                <a:endParaRPr lang="en-US" sz="35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35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8428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4000"/>
      </a:pPr>
      <a:endParaRPr lang="de-DE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5438</cdr:x>
      <cdr:y>0.92258</cdr:y>
    </cdr:from>
    <cdr:to>
      <cdr:x>0.43135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210050" y="1089660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 anchor="ctr"/>
        <a:lstStyle xmlns:a="http://schemas.openxmlformats.org/drawingml/2006/main"/>
        <a:p xmlns:a="http://schemas.openxmlformats.org/drawingml/2006/main">
          <a:r>
            <a:rPr lang="en-US" sz="3500" dirty="0" smtClean="0"/>
            <a:t>SVM</a:t>
          </a:r>
          <a:endParaRPr lang="en-US" sz="3500" dirty="0"/>
        </a:p>
      </cdr:txBody>
    </cdr:sp>
  </cdr:relSizeAnchor>
  <cdr:relSizeAnchor xmlns:cdr="http://schemas.openxmlformats.org/drawingml/2006/chartDrawing">
    <cdr:from>
      <cdr:x>0.53184</cdr:x>
      <cdr:y>0.92258</cdr:y>
    </cdr:from>
    <cdr:to>
      <cdr:x>0.60881</cdr:x>
      <cdr:y>1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6318250" y="1108710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3500" dirty="0" smtClean="0"/>
            <a:t>LSTM</a:t>
          </a:r>
          <a:endParaRPr lang="en-US" sz="3500" dirty="0"/>
        </a:p>
      </cdr:txBody>
    </cdr:sp>
  </cdr:relSizeAnchor>
  <cdr:relSizeAnchor xmlns:cdr="http://schemas.openxmlformats.org/drawingml/2006/chartDrawing">
    <cdr:from>
      <cdr:x>0.70609</cdr:x>
      <cdr:y>0.92258</cdr:y>
    </cdr:from>
    <cdr:to>
      <cdr:x>0.78306</cdr:x>
      <cdr:y>1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8388350" y="1089660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3500" dirty="0" smtClean="0"/>
            <a:t>CNN</a:t>
          </a:r>
          <a:endParaRPr lang="en-US" sz="3500" dirty="0"/>
        </a:p>
      </cdr:txBody>
    </cdr:sp>
  </cdr:relSizeAnchor>
</c:userShap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70641" y="7005156"/>
            <a:ext cx="25733931" cy="14902051"/>
          </a:xfrm>
        </p:spPr>
        <p:txBody>
          <a:bodyPr anchor="b"/>
          <a:lstStyle>
            <a:lvl1pPr algn="ctr">
              <a:defRPr sz="19865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84402" y="22481887"/>
            <a:ext cx="22706410" cy="10334331"/>
          </a:xfrm>
        </p:spPr>
        <p:txBody>
          <a:bodyPr/>
          <a:lstStyle>
            <a:lvl1pPr marL="0" indent="0" algn="ctr">
              <a:buNone/>
              <a:defRPr sz="7946"/>
            </a:lvl1pPr>
            <a:lvl2pPr marL="1513743" indent="0" algn="ctr">
              <a:buNone/>
              <a:defRPr sz="6622"/>
            </a:lvl2pPr>
            <a:lvl3pPr marL="3027487" indent="0" algn="ctr">
              <a:buNone/>
              <a:defRPr sz="5960"/>
            </a:lvl3pPr>
            <a:lvl4pPr marL="4541230" indent="0" algn="ctr">
              <a:buNone/>
              <a:defRPr sz="5297"/>
            </a:lvl4pPr>
            <a:lvl5pPr marL="6054974" indent="0" algn="ctr">
              <a:buNone/>
              <a:defRPr sz="5297"/>
            </a:lvl5pPr>
            <a:lvl6pPr marL="7568717" indent="0" algn="ctr">
              <a:buNone/>
              <a:defRPr sz="5297"/>
            </a:lvl6pPr>
            <a:lvl7pPr marL="9082461" indent="0" algn="ctr">
              <a:buNone/>
              <a:defRPr sz="5297"/>
            </a:lvl7pPr>
            <a:lvl8pPr marL="10596204" indent="0" algn="ctr">
              <a:buNone/>
              <a:defRPr sz="5297"/>
            </a:lvl8pPr>
            <a:lvl9pPr marL="12109948" indent="0" algn="ctr">
              <a:buNone/>
              <a:defRPr sz="5297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74AF3-4494-4A74-8C73-B303F9673824}" type="datetimeFigureOut">
              <a:rPr lang="en-US" smtClean="0"/>
              <a:t>9/1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6EBF-365A-4EC6-8BB5-7D2FE4EDE8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4710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74AF3-4494-4A74-8C73-B303F9673824}" type="datetimeFigureOut">
              <a:rPr lang="en-US" smtClean="0"/>
              <a:t>9/1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6EBF-365A-4EC6-8BB5-7D2FE4EDE8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6646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1665701" y="2278904"/>
            <a:ext cx="6528093" cy="3627421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81423" y="2278904"/>
            <a:ext cx="19205838" cy="3627421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74AF3-4494-4A74-8C73-B303F9673824}" type="datetimeFigureOut">
              <a:rPr lang="en-US" smtClean="0"/>
              <a:t>9/1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6EBF-365A-4EC6-8BB5-7D2FE4EDE8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9096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74AF3-4494-4A74-8C73-B303F9673824}" type="datetimeFigureOut">
              <a:rPr lang="en-US" smtClean="0"/>
              <a:t>9/1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6EBF-365A-4EC6-8BB5-7D2FE4EDE8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6474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5654" y="10671229"/>
            <a:ext cx="26112371" cy="17805173"/>
          </a:xfrm>
        </p:spPr>
        <p:txBody>
          <a:bodyPr anchor="b"/>
          <a:lstStyle>
            <a:lvl1pPr>
              <a:defRPr sz="19865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65654" y="28644846"/>
            <a:ext cx="26112371" cy="9363320"/>
          </a:xfrm>
        </p:spPr>
        <p:txBody>
          <a:bodyPr/>
          <a:lstStyle>
            <a:lvl1pPr marL="0" indent="0">
              <a:buNone/>
              <a:defRPr sz="7946">
                <a:solidFill>
                  <a:schemeClr val="tx1"/>
                </a:solidFill>
              </a:defRPr>
            </a:lvl1pPr>
            <a:lvl2pPr marL="1513743" indent="0">
              <a:buNone/>
              <a:defRPr sz="6622">
                <a:solidFill>
                  <a:schemeClr val="tx1">
                    <a:tint val="75000"/>
                  </a:schemeClr>
                </a:solidFill>
              </a:defRPr>
            </a:lvl2pPr>
            <a:lvl3pPr marL="3027487" indent="0">
              <a:buNone/>
              <a:defRPr sz="5960">
                <a:solidFill>
                  <a:schemeClr val="tx1">
                    <a:tint val="75000"/>
                  </a:schemeClr>
                </a:solidFill>
              </a:defRPr>
            </a:lvl3pPr>
            <a:lvl4pPr marL="4541230" indent="0">
              <a:buNone/>
              <a:defRPr sz="5297">
                <a:solidFill>
                  <a:schemeClr val="tx1">
                    <a:tint val="75000"/>
                  </a:schemeClr>
                </a:solidFill>
              </a:defRPr>
            </a:lvl4pPr>
            <a:lvl5pPr marL="6054974" indent="0">
              <a:buNone/>
              <a:defRPr sz="5297">
                <a:solidFill>
                  <a:schemeClr val="tx1">
                    <a:tint val="75000"/>
                  </a:schemeClr>
                </a:solidFill>
              </a:defRPr>
            </a:lvl5pPr>
            <a:lvl6pPr marL="7568717" indent="0">
              <a:buNone/>
              <a:defRPr sz="5297">
                <a:solidFill>
                  <a:schemeClr val="tx1">
                    <a:tint val="75000"/>
                  </a:schemeClr>
                </a:solidFill>
              </a:defRPr>
            </a:lvl6pPr>
            <a:lvl7pPr marL="9082461" indent="0">
              <a:buNone/>
              <a:defRPr sz="5297">
                <a:solidFill>
                  <a:schemeClr val="tx1">
                    <a:tint val="75000"/>
                  </a:schemeClr>
                </a:solidFill>
              </a:defRPr>
            </a:lvl7pPr>
            <a:lvl8pPr marL="10596204" indent="0">
              <a:buNone/>
              <a:defRPr sz="5297">
                <a:solidFill>
                  <a:schemeClr val="tx1">
                    <a:tint val="75000"/>
                  </a:schemeClr>
                </a:solidFill>
              </a:defRPr>
            </a:lvl8pPr>
            <a:lvl9pPr marL="12109948" indent="0">
              <a:buNone/>
              <a:defRPr sz="529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74AF3-4494-4A74-8C73-B303F9673824}" type="datetimeFigureOut">
              <a:rPr lang="en-US" smtClean="0"/>
              <a:t>9/1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6EBF-365A-4EC6-8BB5-7D2FE4EDE8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5134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81421" y="11394520"/>
            <a:ext cx="12866966" cy="2715859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326826" y="11394520"/>
            <a:ext cx="12866966" cy="2715859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74AF3-4494-4A74-8C73-B303F9673824}" type="datetimeFigureOut">
              <a:rPr lang="en-US" smtClean="0"/>
              <a:t>9/17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6EBF-365A-4EC6-8BB5-7D2FE4EDE8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9503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364" y="2278913"/>
            <a:ext cx="26112371" cy="827341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85368" y="10492870"/>
            <a:ext cx="12807832" cy="5142393"/>
          </a:xfrm>
        </p:spPr>
        <p:txBody>
          <a:bodyPr anchor="b"/>
          <a:lstStyle>
            <a:lvl1pPr marL="0" indent="0">
              <a:buNone/>
              <a:defRPr sz="7946" b="1"/>
            </a:lvl1pPr>
            <a:lvl2pPr marL="1513743" indent="0">
              <a:buNone/>
              <a:defRPr sz="6622" b="1"/>
            </a:lvl2pPr>
            <a:lvl3pPr marL="3027487" indent="0">
              <a:buNone/>
              <a:defRPr sz="5960" b="1"/>
            </a:lvl3pPr>
            <a:lvl4pPr marL="4541230" indent="0">
              <a:buNone/>
              <a:defRPr sz="5297" b="1"/>
            </a:lvl4pPr>
            <a:lvl5pPr marL="6054974" indent="0">
              <a:buNone/>
              <a:defRPr sz="5297" b="1"/>
            </a:lvl5pPr>
            <a:lvl6pPr marL="7568717" indent="0">
              <a:buNone/>
              <a:defRPr sz="5297" b="1"/>
            </a:lvl6pPr>
            <a:lvl7pPr marL="9082461" indent="0">
              <a:buNone/>
              <a:defRPr sz="5297" b="1"/>
            </a:lvl7pPr>
            <a:lvl8pPr marL="10596204" indent="0">
              <a:buNone/>
              <a:defRPr sz="5297" b="1"/>
            </a:lvl8pPr>
            <a:lvl9pPr marL="12109948" indent="0">
              <a:buNone/>
              <a:defRPr sz="5297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085368" y="15635264"/>
            <a:ext cx="12807832" cy="2299711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5326828" y="10492870"/>
            <a:ext cx="12870909" cy="5142393"/>
          </a:xfrm>
        </p:spPr>
        <p:txBody>
          <a:bodyPr anchor="b"/>
          <a:lstStyle>
            <a:lvl1pPr marL="0" indent="0">
              <a:buNone/>
              <a:defRPr sz="7946" b="1"/>
            </a:lvl1pPr>
            <a:lvl2pPr marL="1513743" indent="0">
              <a:buNone/>
              <a:defRPr sz="6622" b="1"/>
            </a:lvl2pPr>
            <a:lvl3pPr marL="3027487" indent="0">
              <a:buNone/>
              <a:defRPr sz="5960" b="1"/>
            </a:lvl3pPr>
            <a:lvl4pPr marL="4541230" indent="0">
              <a:buNone/>
              <a:defRPr sz="5297" b="1"/>
            </a:lvl4pPr>
            <a:lvl5pPr marL="6054974" indent="0">
              <a:buNone/>
              <a:defRPr sz="5297" b="1"/>
            </a:lvl5pPr>
            <a:lvl6pPr marL="7568717" indent="0">
              <a:buNone/>
              <a:defRPr sz="5297" b="1"/>
            </a:lvl6pPr>
            <a:lvl7pPr marL="9082461" indent="0">
              <a:buNone/>
              <a:defRPr sz="5297" b="1"/>
            </a:lvl7pPr>
            <a:lvl8pPr marL="10596204" indent="0">
              <a:buNone/>
              <a:defRPr sz="5297" b="1"/>
            </a:lvl8pPr>
            <a:lvl9pPr marL="12109948" indent="0">
              <a:buNone/>
              <a:defRPr sz="5297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5326828" y="15635264"/>
            <a:ext cx="12870909" cy="2299711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74AF3-4494-4A74-8C73-B303F9673824}" type="datetimeFigureOut">
              <a:rPr lang="en-US" smtClean="0"/>
              <a:t>9/17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6EBF-365A-4EC6-8BB5-7D2FE4EDE8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2843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74AF3-4494-4A74-8C73-B303F9673824}" type="datetimeFigureOut">
              <a:rPr lang="en-US" smtClean="0"/>
              <a:t>9/17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6EBF-365A-4EC6-8BB5-7D2FE4EDE8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9453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74AF3-4494-4A74-8C73-B303F9673824}" type="datetimeFigureOut">
              <a:rPr lang="en-US" smtClean="0"/>
              <a:t>9/17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6EBF-365A-4EC6-8BB5-7D2FE4EDE8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0715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364" y="2853584"/>
            <a:ext cx="9764544" cy="9987545"/>
          </a:xfrm>
        </p:spPr>
        <p:txBody>
          <a:bodyPr anchor="b"/>
          <a:lstStyle>
            <a:lvl1pPr>
              <a:defRPr sz="10595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70909" y="6162959"/>
            <a:ext cx="15326827" cy="30418415"/>
          </a:xfrm>
        </p:spPr>
        <p:txBody>
          <a:bodyPr/>
          <a:lstStyle>
            <a:lvl1pPr>
              <a:defRPr sz="10595"/>
            </a:lvl1pPr>
            <a:lvl2pPr>
              <a:defRPr sz="9271"/>
            </a:lvl2pPr>
            <a:lvl3pPr>
              <a:defRPr sz="7946"/>
            </a:lvl3pPr>
            <a:lvl4pPr>
              <a:defRPr sz="6622"/>
            </a:lvl4pPr>
            <a:lvl5pPr>
              <a:defRPr sz="6622"/>
            </a:lvl5pPr>
            <a:lvl6pPr>
              <a:defRPr sz="6622"/>
            </a:lvl6pPr>
            <a:lvl7pPr>
              <a:defRPr sz="6622"/>
            </a:lvl7pPr>
            <a:lvl8pPr>
              <a:defRPr sz="6622"/>
            </a:lvl8pPr>
            <a:lvl9pPr>
              <a:defRPr sz="662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85364" y="12841129"/>
            <a:ext cx="9764544" cy="23789780"/>
          </a:xfrm>
        </p:spPr>
        <p:txBody>
          <a:bodyPr/>
          <a:lstStyle>
            <a:lvl1pPr marL="0" indent="0">
              <a:buNone/>
              <a:defRPr sz="5297"/>
            </a:lvl1pPr>
            <a:lvl2pPr marL="1513743" indent="0">
              <a:buNone/>
              <a:defRPr sz="4635"/>
            </a:lvl2pPr>
            <a:lvl3pPr marL="3027487" indent="0">
              <a:buNone/>
              <a:defRPr sz="3973"/>
            </a:lvl3pPr>
            <a:lvl4pPr marL="4541230" indent="0">
              <a:buNone/>
              <a:defRPr sz="3311"/>
            </a:lvl4pPr>
            <a:lvl5pPr marL="6054974" indent="0">
              <a:buNone/>
              <a:defRPr sz="3311"/>
            </a:lvl5pPr>
            <a:lvl6pPr marL="7568717" indent="0">
              <a:buNone/>
              <a:defRPr sz="3311"/>
            </a:lvl6pPr>
            <a:lvl7pPr marL="9082461" indent="0">
              <a:buNone/>
              <a:defRPr sz="3311"/>
            </a:lvl7pPr>
            <a:lvl8pPr marL="10596204" indent="0">
              <a:buNone/>
              <a:defRPr sz="3311"/>
            </a:lvl8pPr>
            <a:lvl9pPr marL="12109948" indent="0">
              <a:buNone/>
              <a:defRPr sz="331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74AF3-4494-4A74-8C73-B303F9673824}" type="datetimeFigureOut">
              <a:rPr lang="en-US" smtClean="0"/>
              <a:t>9/17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6EBF-365A-4EC6-8BB5-7D2FE4EDE8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4333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5364" y="2853584"/>
            <a:ext cx="9764544" cy="9987545"/>
          </a:xfrm>
        </p:spPr>
        <p:txBody>
          <a:bodyPr anchor="b"/>
          <a:lstStyle>
            <a:lvl1pPr>
              <a:defRPr sz="10595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870909" y="6162959"/>
            <a:ext cx="15326827" cy="30418415"/>
          </a:xfrm>
        </p:spPr>
        <p:txBody>
          <a:bodyPr anchor="t"/>
          <a:lstStyle>
            <a:lvl1pPr marL="0" indent="0">
              <a:buNone/>
              <a:defRPr sz="10595"/>
            </a:lvl1pPr>
            <a:lvl2pPr marL="1513743" indent="0">
              <a:buNone/>
              <a:defRPr sz="9271"/>
            </a:lvl2pPr>
            <a:lvl3pPr marL="3027487" indent="0">
              <a:buNone/>
              <a:defRPr sz="7946"/>
            </a:lvl3pPr>
            <a:lvl4pPr marL="4541230" indent="0">
              <a:buNone/>
              <a:defRPr sz="6622"/>
            </a:lvl4pPr>
            <a:lvl5pPr marL="6054974" indent="0">
              <a:buNone/>
              <a:defRPr sz="6622"/>
            </a:lvl5pPr>
            <a:lvl6pPr marL="7568717" indent="0">
              <a:buNone/>
              <a:defRPr sz="6622"/>
            </a:lvl6pPr>
            <a:lvl7pPr marL="9082461" indent="0">
              <a:buNone/>
              <a:defRPr sz="6622"/>
            </a:lvl7pPr>
            <a:lvl8pPr marL="10596204" indent="0">
              <a:buNone/>
              <a:defRPr sz="6622"/>
            </a:lvl8pPr>
            <a:lvl9pPr marL="12109948" indent="0">
              <a:buNone/>
              <a:defRPr sz="6622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85364" y="12841129"/>
            <a:ext cx="9764544" cy="23789780"/>
          </a:xfrm>
        </p:spPr>
        <p:txBody>
          <a:bodyPr/>
          <a:lstStyle>
            <a:lvl1pPr marL="0" indent="0">
              <a:buNone/>
              <a:defRPr sz="5297"/>
            </a:lvl1pPr>
            <a:lvl2pPr marL="1513743" indent="0">
              <a:buNone/>
              <a:defRPr sz="4635"/>
            </a:lvl2pPr>
            <a:lvl3pPr marL="3027487" indent="0">
              <a:buNone/>
              <a:defRPr sz="3973"/>
            </a:lvl3pPr>
            <a:lvl4pPr marL="4541230" indent="0">
              <a:buNone/>
              <a:defRPr sz="3311"/>
            </a:lvl4pPr>
            <a:lvl5pPr marL="6054974" indent="0">
              <a:buNone/>
              <a:defRPr sz="3311"/>
            </a:lvl5pPr>
            <a:lvl6pPr marL="7568717" indent="0">
              <a:buNone/>
              <a:defRPr sz="3311"/>
            </a:lvl6pPr>
            <a:lvl7pPr marL="9082461" indent="0">
              <a:buNone/>
              <a:defRPr sz="3311"/>
            </a:lvl7pPr>
            <a:lvl8pPr marL="10596204" indent="0">
              <a:buNone/>
              <a:defRPr sz="3311"/>
            </a:lvl8pPr>
            <a:lvl9pPr marL="12109948" indent="0">
              <a:buNone/>
              <a:defRPr sz="331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74AF3-4494-4A74-8C73-B303F9673824}" type="datetimeFigureOut">
              <a:rPr lang="en-US" smtClean="0"/>
              <a:t>9/17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6EBF-365A-4EC6-8BB5-7D2FE4EDE8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2498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81421" y="2278913"/>
            <a:ext cx="26112371" cy="82734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81421" y="11394520"/>
            <a:ext cx="26112371" cy="271585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81421" y="39672756"/>
            <a:ext cx="6811923" cy="2278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97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B74AF3-4494-4A74-8C73-B303F9673824}" type="datetimeFigureOut">
              <a:rPr lang="en-US" smtClean="0"/>
              <a:t>9/1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028665" y="39672756"/>
            <a:ext cx="10217884" cy="2278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97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381869" y="39672756"/>
            <a:ext cx="6811923" cy="2278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97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AA6EBF-365A-4EC6-8BB5-7D2FE4EDE8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666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3027487" rtl="0" eaLnBrk="1" latinLnBrk="0" hangingPunct="1">
        <a:lnSpc>
          <a:spcPct val="90000"/>
        </a:lnSpc>
        <a:spcBef>
          <a:spcPct val="0"/>
        </a:spcBef>
        <a:buNone/>
        <a:defRPr sz="145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56872" indent="-756872" algn="l" defTabSz="3027487" rtl="0" eaLnBrk="1" latinLnBrk="0" hangingPunct="1">
        <a:lnSpc>
          <a:spcPct val="90000"/>
        </a:lnSpc>
        <a:spcBef>
          <a:spcPts val="3311"/>
        </a:spcBef>
        <a:buFont typeface="Arial" panose="020B0604020202020204" pitchFamily="34" charset="0"/>
        <a:buChar char="•"/>
        <a:defRPr sz="9271" kern="1200">
          <a:solidFill>
            <a:schemeClr val="tx1"/>
          </a:solidFill>
          <a:latin typeface="+mn-lt"/>
          <a:ea typeface="+mn-ea"/>
          <a:cs typeface="+mn-cs"/>
        </a:defRPr>
      </a:lvl1pPr>
      <a:lvl2pPr marL="2270615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7946" kern="1200">
          <a:solidFill>
            <a:schemeClr val="tx1"/>
          </a:solidFill>
          <a:latin typeface="+mn-lt"/>
          <a:ea typeface="+mn-ea"/>
          <a:cs typeface="+mn-cs"/>
        </a:defRPr>
      </a:lvl2pPr>
      <a:lvl3pPr marL="378435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6622" kern="1200">
          <a:solidFill>
            <a:schemeClr val="tx1"/>
          </a:solidFill>
          <a:latin typeface="+mn-lt"/>
          <a:ea typeface="+mn-ea"/>
          <a:cs typeface="+mn-cs"/>
        </a:defRPr>
      </a:lvl3pPr>
      <a:lvl4pPr marL="5298102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81184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832558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839333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135307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866820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1pPr>
      <a:lvl2pPr marL="1513743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2pPr>
      <a:lvl3pPr marL="302748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3pPr>
      <a:lvl4pPr marL="454123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05497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756871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082461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059620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109948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971518582"/>
              </p:ext>
            </p:extLst>
          </p:nvPr>
        </p:nvGraphicFramePr>
        <p:xfrm>
          <a:off x="16354314" y="24265106"/>
          <a:ext cx="11496786" cy="96391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4672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7810500" y="2114550"/>
            <a:ext cx="2052689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0" dirty="0" err="1" smtClean="0"/>
              <a:t>KAUSTmine</a:t>
            </a:r>
            <a:r>
              <a:rPr lang="en-US" sz="8000" dirty="0" smtClean="0"/>
              <a:t> – Offensive Comment Classification of German Language </a:t>
            </a:r>
            <a:r>
              <a:rPr lang="en-US" sz="8000" dirty="0" err="1" smtClean="0"/>
              <a:t>Microposts</a:t>
            </a:r>
            <a:endParaRPr lang="en-US" sz="8000" dirty="0"/>
          </a:p>
        </p:txBody>
      </p:sp>
      <p:sp>
        <p:nvSpPr>
          <p:cNvPr id="4" name="TextBox 3"/>
          <p:cNvSpPr txBox="1"/>
          <p:nvPr/>
        </p:nvSpPr>
        <p:spPr>
          <a:xfrm>
            <a:off x="2057400" y="8401050"/>
            <a:ext cx="11880000" cy="861774"/>
          </a:xfrm>
          <a:prstGeom prst="rect">
            <a:avLst/>
          </a:prstGeom>
          <a:solidFill>
            <a:srgbClr val="B2B2B2"/>
          </a:solidFill>
        </p:spPr>
        <p:txBody>
          <a:bodyPr wrap="square" rtlCol="0">
            <a:spAutoFit/>
          </a:bodyPr>
          <a:lstStyle/>
          <a:p>
            <a:r>
              <a:rPr lang="en-US" sz="5000" dirty="0" smtClean="0">
                <a:solidFill>
                  <a:srgbClr val="FFFFFF"/>
                </a:solidFill>
              </a:rPr>
              <a:t>Overview of Data set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6457399" y="8401050"/>
            <a:ext cx="11880000" cy="861774"/>
          </a:xfrm>
          <a:prstGeom prst="rect">
            <a:avLst/>
          </a:prstGeom>
          <a:solidFill>
            <a:srgbClr val="B2B2B2"/>
          </a:solidFill>
        </p:spPr>
        <p:txBody>
          <a:bodyPr wrap="square" rtlCol="0">
            <a:spAutoFit/>
          </a:bodyPr>
          <a:lstStyle/>
          <a:p>
            <a:r>
              <a:rPr lang="en-US" sz="5000" dirty="0" smtClean="0">
                <a:solidFill>
                  <a:srgbClr val="FFFFFF"/>
                </a:solidFill>
              </a:rPr>
              <a:t>Classifier systems</a:t>
            </a:r>
            <a:endParaRPr lang="en-US" sz="50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6457398" y="9566232"/>
            <a:ext cx="11660401" cy="13634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/>
              <a:t>Classifiers used to participate in Task 1 (binary classification) of </a:t>
            </a:r>
            <a:r>
              <a:rPr lang="en-US" sz="4000" dirty="0" err="1" smtClean="0"/>
              <a:t>GermEval</a:t>
            </a:r>
            <a:r>
              <a:rPr lang="en-US" sz="4000" dirty="0" smtClean="0"/>
              <a:t> 2018 shared task:</a:t>
            </a:r>
          </a:p>
          <a:p>
            <a:endParaRPr lang="en-US" sz="2000" b="1" dirty="0" smtClean="0"/>
          </a:p>
          <a:p>
            <a:r>
              <a:rPr lang="en-US" sz="4000" b="1" dirty="0" smtClean="0"/>
              <a:t>SVM</a:t>
            </a:r>
          </a:p>
          <a:p>
            <a:pPr marL="571500" indent="-571500">
              <a:buFontTx/>
              <a:buChar char="-"/>
            </a:pPr>
            <a:r>
              <a:rPr lang="en-US" sz="4000" dirty="0" smtClean="0"/>
              <a:t>Support </a:t>
            </a:r>
            <a:r>
              <a:rPr lang="en-US" sz="4000" dirty="0"/>
              <a:t>Vector Machine (SVM)</a:t>
            </a:r>
          </a:p>
          <a:p>
            <a:pPr marL="571500" indent="-571500">
              <a:buFontTx/>
              <a:buChar char="-"/>
            </a:pPr>
            <a:r>
              <a:rPr lang="en-US" sz="4000" dirty="0"/>
              <a:t>Implemented with </a:t>
            </a:r>
            <a:r>
              <a:rPr lang="en-US" sz="4000" dirty="0" err="1"/>
              <a:t>Scikit</a:t>
            </a:r>
            <a:r>
              <a:rPr lang="en-US" sz="4000" dirty="0"/>
              <a:t>-learn</a:t>
            </a:r>
          </a:p>
          <a:p>
            <a:pPr marL="571500" indent="-571500">
              <a:buFontTx/>
              <a:buChar char="-"/>
            </a:pPr>
            <a:r>
              <a:rPr lang="en-US" sz="4000" dirty="0"/>
              <a:t>Classifier trained on TF-IDF vectors using count matrices of </a:t>
            </a:r>
            <a:r>
              <a:rPr lang="en-US" sz="4000" dirty="0" smtClean="0"/>
              <a:t>5-grams</a:t>
            </a:r>
          </a:p>
          <a:p>
            <a:pPr marL="571500" indent="-571500">
              <a:buFontTx/>
              <a:buChar char="-"/>
            </a:pPr>
            <a:endParaRPr lang="en-US" sz="2000" dirty="0"/>
          </a:p>
          <a:p>
            <a:r>
              <a:rPr lang="en-US" sz="4000" b="1" dirty="0"/>
              <a:t>Bidirectional LSTM</a:t>
            </a:r>
          </a:p>
          <a:p>
            <a:pPr marL="571500" indent="-571500">
              <a:buFontTx/>
              <a:buChar char="-"/>
            </a:pPr>
            <a:r>
              <a:rPr lang="en-US" sz="4000" dirty="0"/>
              <a:t>Bidirectional Long short-term memory (LSTM)</a:t>
            </a:r>
          </a:p>
          <a:p>
            <a:pPr marL="571500" indent="-571500">
              <a:buFontTx/>
              <a:buChar char="-"/>
            </a:pPr>
            <a:r>
              <a:rPr lang="en-US" sz="4000" dirty="0"/>
              <a:t>Implemented with </a:t>
            </a:r>
            <a:r>
              <a:rPr lang="en-US" sz="4000" dirty="0" err="1"/>
              <a:t>Keras</a:t>
            </a:r>
            <a:r>
              <a:rPr lang="en-US" sz="4000" dirty="0"/>
              <a:t> library</a:t>
            </a:r>
          </a:p>
          <a:p>
            <a:pPr marL="571500" indent="-571500">
              <a:buFontTx/>
              <a:buChar char="-"/>
            </a:pPr>
            <a:r>
              <a:rPr lang="en-US" sz="4000" dirty="0"/>
              <a:t>Consists of two layers with 64 and 2 units respectively </a:t>
            </a:r>
          </a:p>
          <a:p>
            <a:pPr marL="571500" indent="-571500">
              <a:buFontTx/>
              <a:buChar char="-"/>
            </a:pPr>
            <a:r>
              <a:rPr lang="en-US" sz="4000" dirty="0"/>
              <a:t>Dropout &amp; early-stopping to prevent model from overfitting</a:t>
            </a:r>
          </a:p>
          <a:p>
            <a:pPr marL="571500" indent="-571500">
              <a:buFontTx/>
              <a:buChar char="-"/>
            </a:pPr>
            <a:endParaRPr lang="en-US" sz="2000" dirty="0" smtClean="0"/>
          </a:p>
          <a:p>
            <a:r>
              <a:rPr lang="en-US" sz="4000" b="1" dirty="0"/>
              <a:t>CNN</a:t>
            </a:r>
          </a:p>
          <a:p>
            <a:pPr marL="571500" indent="-571500">
              <a:buFontTx/>
              <a:buChar char="-"/>
            </a:pPr>
            <a:r>
              <a:rPr lang="en-US" sz="4000" dirty="0"/>
              <a:t>Convolutional Neural Network (CNN)</a:t>
            </a:r>
          </a:p>
          <a:p>
            <a:pPr marL="571500" indent="-571500">
              <a:buFontTx/>
              <a:buChar char="-"/>
            </a:pPr>
            <a:r>
              <a:rPr lang="en-US" sz="4000" dirty="0"/>
              <a:t>Implemented with </a:t>
            </a:r>
            <a:r>
              <a:rPr lang="en-US" sz="4000" dirty="0" err="1"/>
              <a:t>Keras</a:t>
            </a:r>
            <a:r>
              <a:rPr lang="en-US" sz="4000" dirty="0"/>
              <a:t> library</a:t>
            </a:r>
          </a:p>
          <a:p>
            <a:pPr marL="571500" indent="-571500">
              <a:buFontTx/>
              <a:buChar char="-"/>
            </a:pPr>
            <a:r>
              <a:rPr lang="en-US" sz="4000" dirty="0"/>
              <a:t>Consists of one convolutional layer with 64 units</a:t>
            </a:r>
          </a:p>
          <a:p>
            <a:pPr marL="571500" indent="-571500">
              <a:buFontTx/>
              <a:buChar char="-"/>
            </a:pPr>
            <a:r>
              <a:rPr lang="en-US" sz="4000" dirty="0"/>
              <a:t>Dropout &amp; early-stopping to prevent model from </a:t>
            </a:r>
            <a:r>
              <a:rPr lang="en-US" sz="4000" dirty="0" smtClean="0"/>
              <a:t>overfitting</a:t>
            </a:r>
            <a:endParaRPr lang="en-US" sz="4000" dirty="0"/>
          </a:p>
        </p:txBody>
      </p:sp>
      <p:sp>
        <p:nvSpPr>
          <p:cNvPr id="11" name="TextBox 10"/>
          <p:cNvSpPr txBox="1"/>
          <p:nvPr/>
        </p:nvSpPr>
        <p:spPr>
          <a:xfrm>
            <a:off x="2057400" y="23031867"/>
            <a:ext cx="26280000" cy="861774"/>
          </a:xfrm>
          <a:prstGeom prst="rect">
            <a:avLst/>
          </a:prstGeom>
          <a:solidFill>
            <a:srgbClr val="B2B2B2"/>
          </a:solidFill>
        </p:spPr>
        <p:txBody>
          <a:bodyPr wrap="square" rtlCol="0">
            <a:spAutoFit/>
          </a:bodyPr>
          <a:lstStyle/>
          <a:p>
            <a:r>
              <a:rPr lang="en-US" sz="5000" dirty="0" smtClean="0">
                <a:solidFill>
                  <a:srgbClr val="FFFFFF"/>
                </a:solidFill>
              </a:rPr>
              <a:t>Results</a:t>
            </a:r>
            <a:endParaRPr lang="en-US" sz="5000" dirty="0">
              <a:solidFill>
                <a:srgbClr val="FFFFFF"/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7184336"/>
              </p:ext>
            </p:extLst>
          </p:nvPr>
        </p:nvGraphicFramePr>
        <p:xfrm>
          <a:off x="2057402" y="34916426"/>
          <a:ext cx="26279994" cy="440457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21538"/>
                <a:gridCol w="2021538"/>
                <a:gridCol w="2021538"/>
                <a:gridCol w="2021538"/>
                <a:gridCol w="2021538"/>
                <a:gridCol w="2021538"/>
                <a:gridCol w="2021538"/>
                <a:gridCol w="2021538"/>
                <a:gridCol w="2021538"/>
                <a:gridCol w="2021538"/>
                <a:gridCol w="2021538"/>
                <a:gridCol w="2021538"/>
                <a:gridCol w="2021538"/>
              </a:tblGrid>
              <a:tr h="720000">
                <a:tc>
                  <a:txBody>
                    <a:bodyPr/>
                    <a:lstStyle/>
                    <a:p>
                      <a:pPr algn="ctr" fontAlgn="b"/>
                      <a:endParaRPr lang="de-DE" sz="3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de-DE" sz="35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uracy</a:t>
                      </a:r>
                      <a:endParaRPr lang="de-DE" sz="35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3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3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de-DE" sz="3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fensive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de-DE" sz="3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her</a:t>
                      </a:r>
                      <a:endParaRPr lang="de-DE" sz="3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de-DE" sz="35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rage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828000"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stem</a:t>
                      </a:r>
                      <a:endParaRPr lang="de-DE" sz="3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</a:t>
                      </a:r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 </a:t>
                      </a:r>
                      <a:r>
                        <a:rPr lang="de-DE" sz="35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rrect</a:t>
                      </a:r>
                      <a:endParaRPr lang="de-DE" sz="35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 total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cision</a:t>
                      </a:r>
                      <a:endParaRPr lang="de-DE" sz="3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all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1 score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cision</a:t>
                      </a:r>
                      <a:endParaRPr lang="de-DE" sz="3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all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1 score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cision</a:t>
                      </a:r>
                      <a:endParaRPr lang="de-DE" sz="3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all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1 score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52191"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M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1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6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2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22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77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89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6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81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49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41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79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02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52191"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STM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93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6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2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41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07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07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15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2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7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61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15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52191"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NN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29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2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2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92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9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06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46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59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87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69</a:t>
                      </a:r>
                    </a:p>
                  </a:txBody>
                  <a:tcPr marL="10800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4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3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21</a:t>
                      </a:r>
                    </a:p>
                  </a:txBody>
                  <a:tcPr marL="10800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2057402" y="39433500"/>
            <a:ext cx="1394388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Table 2: Evaluation results for submission runs by </a:t>
            </a:r>
            <a:r>
              <a:rPr lang="en-US" sz="4000" dirty="0" err="1" smtClean="0"/>
              <a:t>KAUSTmine</a:t>
            </a:r>
            <a:r>
              <a:rPr lang="en-US" sz="4000" dirty="0" smtClean="0"/>
              <a:t> team</a:t>
            </a:r>
            <a:endParaRPr lang="en-US" sz="4000" dirty="0"/>
          </a:p>
        </p:txBody>
      </p:sp>
      <p:sp>
        <p:nvSpPr>
          <p:cNvPr id="15" name="TextBox 14"/>
          <p:cNvSpPr txBox="1"/>
          <p:nvPr/>
        </p:nvSpPr>
        <p:spPr>
          <a:xfrm>
            <a:off x="17230613" y="33771734"/>
            <a:ext cx="737047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Figure 1: Overall evaluation results</a:t>
            </a:r>
            <a:endParaRPr lang="en-US" sz="4000" dirty="0"/>
          </a:p>
        </p:txBody>
      </p:sp>
      <p:sp>
        <p:nvSpPr>
          <p:cNvPr id="19" name="TextBox 18"/>
          <p:cNvSpPr txBox="1"/>
          <p:nvPr/>
        </p:nvSpPr>
        <p:spPr>
          <a:xfrm>
            <a:off x="2057400" y="24341306"/>
            <a:ext cx="11880000" cy="99411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/>
              <a:t>Deep-learning systems (LSTM, CNN) were able to out-perform machine-learning based classifier (SVM)</a:t>
            </a:r>
            <a:endParaRPr lang="en-US" sz="4000" dirty="0"/>
          </a:p>
          <a:p>
            <a:pPr marL="571500" indent="-571500">
              <a:buFontTx/>
              <a:buChar char="-"/>
            </a:pPr>
            <a:r>
              <a:rPr lang="en-US" sz="4000" dirty="0" smtClean="0"/>
              <a:t>LSTM model showed best result with 69.15% F1 score</a:t>
            </a:r>
          </a:p>
          <a:p>
            <a:pPr marL="571500" indent="-571500">
              <a:buFontTx/>
              <a:buChar char="-"/>
            </a:pPr>
            <a:r>
              <a:rPr lang="en-US" sz="4000" dirty="0" smtClean="0"/>
              <a:t>Only little effort put into improvement of the proposed systems</a:t>
            </a:r>
          </a:p>
          <a:p>
            <a:pPr marL="571500" indent="-571500">
              <a:buFontTx/>
              <a:buChar char="-"/>
            </a:pPr>
            <a:endParaRPr lang="en-US" sz="4000" dirty="0"/>
          </a:p>
          <a:p>
            <a:r>
              <a:rPr lang="en-US" sz="4000" dirty="0" smtClean="0"/>
              <a:t>Further improvements possible via:</a:t>
            </a:r>
            <a:endParaRPr lang="en-US" sz="4000" dirty="0"/>
          </a:p>
          <a:p>
            <a:pPr marL="571500" indent="-571500">
              <a:buFontTx/>
              <a:buChar char="-"/>
            </a:pPr>
            <a:r>
              <a:rPr lang="en-US" sz="4000" dirty="0" smtClean="0"/>
              <a:t>Usage of additional features (e.g. hate-speech dictionary)</a:t>
            </a:r>
          </a:p>
          <a:p>
            <a:pPr marL="571500" indent="-571500">
              <a:buFontTx/>
              <a:buChar char="-"/>
            </a:pPr>
            <a:r>
              <a:rPr lang="en-US" sz="4000" dirty="0" smtClean="0"/>
              <a:t>Fine-tuning of hyper-parameters</a:t>
            </a:r>
          </a:p>
          <a:p>
            <a:pPr marL="571500" indent="-571500">
              <a:buFontTx/>
              <a:buChar char="-"/>
            </a:pPr>
            <a:r>
              <a:rPr lang="en-US" sz="4000" dirty="0" smtClean="0"/>
              <a:t>Creation of ensembles</a:t>
            </a:r>
          </a:p>
          <a:p>
            <a:pPr marL="571500" indent="-571500">
              <a:buFontTx/>
              <a:buChar char="-"/>
            </a:pPr>
            <a:endParaRPr lang="en-US" sz="4000" dirty="0" smtClean="0"/>
          </a:p>
          <a:p>
            <a:r>
              <a:rPr lang="en-US" sz="4000" dirty="0" smtClean="0"/>
              <a:t>First personal experience in Machine Learning / Deep Learning research</a:t>
            </a:r>
          </a:p>
          <a:p>
            <a:pPr marL="571500" indent="-571500">
              <a:buFontTx/>
              <a:buChar char="-"/>
            </a:pPr>
            <a:r>
              <a:rPr lang="en-US" sz="4000" dirty="0" smtClean="0"/>
              <a:t>Rapidly advancing research area</a:t>
            </a:r>
          </a:p>
          <a:p>
            <a:pPr marL="571500" indent="-571500">
              <a:buFontTx/>
              <a:buChar char="-"/>
            </a:pPr>
            <a:r>
              <a:rPr lang="en-US" sz="4000" dirty="0" smtClean="0"/>
              <a:t>Already excited to learn more during master's study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057400" y="13176262"/>
            <a:ext cx="11880000" cy="861774"/>
          </a:xfrm>
          <a:prstGeom prst="rect">
            <a:avLst/>
          </a:prstGeom>
          <a:solidFill>
            <a:srgbClr val="B2B2B2"/>
          </a:solidFill>
        </p:spPr>
        <p:txBody>
          <a:bodyPr wrap="square" rtlCol="0">
            <a:spAutoFit/>
          </a:bodyPr>
          <a:lstStyle/>
          <a:p>
            <a:r>
              <a:rPr lang="en-US" sz="5000" dirty="0" smtClean="0">
                <a:solidFill>
                  <a:srgbClr val="FFFFFF"/>
                </a:solidFill>
              </a:rPr>
              <a:t>Experimental setup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5031999"/>
              </p:ext>
            </p:extLst>
          </p:nvPr>
        </p:nvGraphicFramePr>
        <p:xfrm>
          <a:off x="2057400" y="9639768"/>
          <a:ext cx="11880000" cy="2461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70000"/>
                <a:gridCol w="2970000"/>
                <a:gridCol w="2970000"/>
                <a:gridCol w="2970000"/>
              </a:tblGrid>
              <a:tr h="820502">
                <a:tc>
                  <a:txBody>
                    <a:bodyPr/>
                    <a:lstStyle/>
                    <a:p>
                      <a:r>
                        <a:rPr lang="en-US" sz="3500" dirty="0" smtClean="0"/>
                        <a:t>Data</a:t>
                      </a:r>
                      <a:r>
                        <a:rPr lang="en-US" sz="3500" baseline="0" dirty="0" smtClean="0"/>
                        <a:t> set</a:t>
                      </a:r>
                      <a:endParaRPr lang="en-US" sz="35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3500" dirty="0" smtClean="0"/>
                        <a:t>Offensive</a:t>
                      </a:r>
                      <a:endParaRPr lang="en-US" sz="35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3500" dirty="0" smtClean="0"/>
                        <a:t>Other</a:t>
                      </a:r>
                      <a:endParaRPr lang="en-US" sz="35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3500" dirty="0" smtClean="0"/>
                        <a:t>Total</a:t>
                      </a:r>
                      <a:endParaRPr lang="en-US" sz="35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20502">
                <a:tc>
                  <a:txBody>
                    <a:bodyPr/>
                    <a:lstStyle/>
                    <a:p>
                      <a:r>
                        <a:rPr lang="en-US" sz="3500" dirty="0" smtClean="0"/>
                        <a:t>Training set</a:t>
                      </a:r>
                      <a:endParaRPr lang="en-US" sz="35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3500" dirty="0" smtClean="0"/>
                        <a:t>1688</a:t>
                      </a:r>
                      <a:endParaRPr lang="en-US" sz="35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3500" dirty="0" smtClean="0"/>
                        <a:t>3321</a:t>
                      </a:r>
                      <a:endParaRPr lang="en-US" sz="35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3500" dirty="0" smtClean="0"/>
                        <a:t>5009</a:t>
                      </a:r>
                      <a:endParaRPr lang="en-US" sz="35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20502">
                <a:tc>
                  <a:txBody>
                    <a:bodyPr/>
                    <a:lstStyle/>
                    <a:p>
                      <a:r>
                        <a:rPr lang="en-US" sz="3500" dirty="0" smtClean="0"/>
                        <a:t>Test set</a:t>
                      </a:r>
                      <a:endParaRPr lang="en-US" sz="35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3500" dirty="0" smtClean="0"/>
                        <a:t>1202</a:t>
                      </a:r>
                      <a:endParaRPr lang="en-US" sz="35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3500" dirty="0" smtClean="0"/>
                        <a:t>2330</a:t>
                      </a:r>
                      <a:endParaRPr lang="en-US" sz="35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3500" dirty="0" smtClean="0"/>
                        <a:t>3532</a:t>
                      </a:r>
                      <a:endParaRPr lang="en-US" sz="35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7810500" y="5181600"/>
            <a:ext cx="2052689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 smtClean="0"/>
              <a:t>Matthias Bachfischer, </a:t>
            </a:r>
            <a:r>
              <a:rPr lang="en-US" sz="6000" dirty="0" err="1"/>
              <a:t>Uchenna</a:t>
            </a:r>
            <a:r>
              <a:rPr lang="en-US" sz="6000" dirty="0"/>
              <a:t> </a:t>
            </a:r>
            <a:r>
              <a:rPr lang="en-US" sz="6000" dirty="0" err="1" smtClean="0"/>
              <a:t>Akujuobi</a:t>
            </a:r>
            <a:r>
              <a:rPr lang="en-US" sz="6000" dirty="0" smtClean="0"/>
              <a:t>, </a:t>
            </a:r>
            <a:r>
              <a:rPr lang="en-US" sz="6000" dirty="0" err="1"/>
              <a:t>Xiangliang</a:t>
            </a:r>
            <a:r>
              <a:rPr lang="en-US" sz="6000" dirty="0"/>
              <a:t> </a:t>
            </a:r>
            <a:r>
              <a:rPr lang="en-US" sz="6000" dirty="0" smtClean="0"/>
              <a:t>Zhang*</a:t>
            </a:r>
          </a:p>
          <a:p>
            <a:pPr algn="ctr"/>
            <a:r>
              <a:rPr lang="en-US" sz="6000" dirty="0" smtClean="0"/>
              <a:t>King Abdullah University for Science and Technology (KAUST)</a:t>
            </a:r>
            <a:endParaRPr lang="en-US" sz="6000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399" y="2470679"/>
            <a:ext cx="6410401" cy="3250273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2057400" y="14205656"/>
            <a:ext cx="11880000" cy="8094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/>
              <a:t>Systems used word vectors published by </a:t>
            </a:r>
            <a:r>
              <a:rPr lang="en-US" sz="4000" dirty="0" err="1" smtClean="0"/>
              <a:t>Deriu</a:t>
            </a:r>
            <a:r>
              <a:rPr lang="en-US" sz="4000" dirty="0" smtClean="0"/>
              <a:t> et al. (2017)</a:t>
            </a:r>
          </a:p>
          <a:p>
            <a:pPr marL="571500" indent="-571500">
              <a:buFontTx/>
              <a:buChar char="-"/>
            </a:pPr>
            <a:r>
              <a:rPr lang="en-US" sz="4000" dirty="0" smtClean="0"/>
              <a:t>trained on </a:t>
            </a:r>
            <a:r>
              <a:rPr lang="en-US" sz="4000" dirty="0"/>
              <a:t>a total of 200 million </a:t>
            </a:r>
            <a:r>
              <a:rPr lang="en-US" sz="4000" dirty="0" smtClean="0"/>
              <a:t>tweets</a:t>
            </a:r>
          </a:p>
          <a:p>
            <a:pPr marL="571500" indent="-571500">
              <a:buFontTx/>
              <a:buChar char="-"/>
            </a:pPr>
            <a:r>
              <a:rPr lang="en-US" sz="4000" dirty="0" smtClean="0"/>
              <a:t>dimensionality of </a:t>
            </a:r>
            <a:r>
              <a:rPr lang="en-US" sz="4000" i="1" dirty="0"/>
              <a:t>d = </a:t>
            </a:r>
            <a:r>
              <a:rPr lang="en-US" sz="4000" i="1" dirty="0" smtClean="0"/>
              <a:t>200</a:t>
            </a:r>
            <a:endParaRPr lang="en-US" sz="4000" b="1" i="1" dirty="0" smtClean="0"/>
          </a:p>
          <a:p>
            <a:endParaRPr lang="en-US" sz="2000" b="1" dirty="0"/>
          </a:p>
          <a:p>
            <a:r>
              <a:rPr lang="en-US" sz="4000" b="1" dirty="0" smtClean="0"/>
              <a:t>Data preprocessing steps:</a:t>
            </a:r>
          </a:p>
          <a:p>
            <a:pPr marL="571500" indent="-571500">
              <a:buFontTx/>
              <a:buChar char="-"/>
            </a:pPr>
            <a:r>
              <a:rPr lang="en-US" sz="4000" dirty="0"/>
              <a:t>Replace</a:t>
            </a:r>
            <a:r>
              <a:rPr lang="en-US" sz="4000" dirty="0" smtClean="0"/>
              <a:t> </a:t>
            </a:r>
            <a:r>
              <a:rPr lang="en-US" sz="4000" dirty="0"/>
              <a:t>URLs, usernames and retweets </a:t>
            </a:r>
            <a:r>
              <a:rPr lang="en-US" sz="4000" dirty="0" smtClean="0"/>
              <a:t>with replacement </a:t>
            </a:r>
            <a:r>
              <a:rPr lang="en-US" sz="4000" dirty="0"/>
              <a:t>tokens </a:t>
            </a:r>
            <a:r>
              <a:rPr lang="en-US" sz="4000" i="1" dirty="0"/>
              <a:t>URLTOK</a:t>
            </a:r>
            <a:r>
              <a:rPr lang="en-US" sz="4000" dirty="0"/>
              <a:t>, </a:t>
            </a:r>
            <a:r>
              <a:rPr lang="en-US" sz="4000" i="1" dirty="0"/>
              <a:t>USRTOK</a:t>
            </a:r>
            <a:r>
              <a:rPr lang="en-US" sz="4000" dirty="0"/>
              <a:t> </a:t>
            </a:r>
            <a:r>
              <a:rPr lang="en-US" sz="4000" dirty="0" smtClean="0"/>
              <a:t>and </a:t>
            </a:r>
            <a:r>
              <a:rPr lang="en-US" sz="4000" i="1" dirty="0" err="1" smtClean="0"/>
              <a:t>rt</a:t>
            </a:r>
            <a:endParaRPr lang="en-US" sz="4000" i="1" dirty="0" smtClean="0"/>
          </a:p>
          <a:p>
            <a:pPr marL="571500" indent="-571500">
              <a:buFontTx/>
              <a:buChar char="-"/>
            </a:pPr>
            <a:r>
              <a:rPr lang="en-US" sz="4000" dirty="0" smtClean="0"/>
              <a:t>Convert </a:t>
            </a:r>
            <a:r>
              <a:rPr lang="en-US" sz="4000" dirty="0"/>
              <a:t>tweet text to </a:t>
            </a:r>
            <a:r>
              <a:rPr lang="en-US" sz="4000" dirty="0" smtClean="0"/>
              <a:t>lowercase</a:t>
            </a:r>
          </a:p>
          <a:p>
            <a:pPr marL="571500" indent="-571500">
              <a:buFontTx/>
              <a:buChar char="-"/>
            </a:pPr>
            <a:r>
              <a:rPr lang="en-US" sz="4000" dirty="0" smtClean="0"/>
              <a:t>Convert </a:t>
            </a:r>
            <a:r>
              <a:rPr lang="en-US" sz="4000" dirty="0"/>
              <a:t>categorical classification </a:t>
            </a:r>
            <a:r>
              <a:rPr lang="en-US" sz="4000" dirty="0" smtClean="0"/>
              <a:t>variables into </a:t>
            </a:r>
            <a:r>
              <a:rPr lang="en-US" sz="4000" dirty="0"/>
              <a:t>an One-Hot encoded </a:t>
            </a:r>
            <a:r>
              <a:rPr lang="en-US" sz="4000" dirty="0" smtClean="0"/>
              <a:t>vector</a:t>
            </a:r>
          </a:p>
          <a:p>
            <a:pPr marL="571500" indent="-571500">
              <a:buFontTx/>
              <a:buChar char="-"/>
            </a:pPr>
            <a:r>
              <a:rPr lang="en-US" sz="4000" dirty="0" smtClean="0"/>
              <a:t>Tokenize </a:t>
            </a:r>
            <a:r>
              <a:rPr lang="en-US" sz="4000" dirty="0"/>
              <a:t>tweets </a:t>
            </a:r>
            <a:r>
              <a:rPr lang="en-US" sz="4000" dirty="0" smtClean="0"/>
              <a:t>and create </a:t>
            </a:r>
            <a:r>
              <a:rPr lang="en-US" sz="4000" dirty="0"/>
              <a:t>a list of word indexes </a:t>
            </a:r>
            <a:r>
              <a:rPr lang="en-US" sz="4000" dirty="0" smtClean="0"/>
              <a:t>with length </a:t>
            </a:r>
            <a:r>
              <a:rPr lang="en-US" sz="4000" i="1" dirty="0"/>
              <a:t>l = </a:t>
            </a:r>
            <a:r>
              <a:rPr lang="en-US" sz="4000" i="1" dirty="0" smtClean="0"/>
              <a:t>100</a:t>
            </a:r>
            <a:endParaRPr lang="en-US" sz="4000" dirty="0" smtClean="0"/>
          </a:p>
        </p:txBody>
      </p:sp>
      <p:sp>
        <p:nvSpPr>
          <p:cNvPr id="28" name="TextBox 27"/>
          <p:cNvSpPr txBox="1"/>
          <p:nvPr/>
        </p:nvSpPr>
        <p:spPr>
          <a:xfrm>
            <a:off x="2057400" y="12158849"/>
            <a:ext cx="788196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Table 1: Class distribution of datasets</a:t>
            </a:r>
            <a:endParaRPr lang="en-US" sz="4000" dirty="0"/>
          </a:p>
        </p:txBody>
      </p:sp>
      <p:sp>
        <p:nvSpPr>
          <p:cNvPr id="29" name="TextBox 28"/>
          <p:cNvSpPr txBox="1"/>
          <p:nvPr/>
        </p:nvSpPr>
        <p:spPr>
          <a:xfrm>
            <a:off x="2057402" y="40589743"/>
            <a:ext cx="2241017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>
                <a:solidFill>
                  <a:schemeClr val="bg1">
                    <a:lumMod val="50000"/>
                  </a:schemeClr>
                </a:solidFill>
              </a:rPr>
              <a:t>* bachfischer.matthias@googlemail.com, uchenna.akujuobi@kaust.edu.sa, </a:t>
            </a:r>
            <a:r>
              <a:rPr lang="en-US" sz="4000" dirty="0">
                <a:solidFill>
                  <a:schemeClr val="bg1">
                    <a:lumMod val="50000"/>
                  </a:schemeClr>
                </a:solidFill>
              </a:rPr>
              <a:t>xiangliang.zhang@kaust.edu.sa</a:t>
            </a:r>
          </a:p>
        </p:txBody>
      </p:sp>
    </p:spTree>
    <p:extLst>
      <p:ext uri="{BB962C8B-B14F-4D97-AF65-F5344CB8AC3E}">
        <p14:creationId xmlns:p14="http://schemas.microsoft.com/office/powerpoint/2010/main" val="3587029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407</Words>
  <Application>Microsoft Office PowerPoint</Application>
  <PresentationFormat>Custom</PresentationFormat>
  <Paragraphs>1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>Platinion Gmb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chfischer, Matthias (Platinion)</dc:creator>
  <cp:lastModifiedBy>Bachfischer, Matthias (Platinion)</cp:lastModifiedBy>
  <cp:revision>33</cp:revision>
  <dcterms:created xsi:type="dcterms:W3CDTF">2018-09-10T05:58:46Z</dcterms:created>
  <dcterms:modified xsi:type="dcterms:W3CDTF">2018-09-17T08:08:39Z</dcterms:modified>
</cp:coreProperties>
</file>